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44"/>
  </p:notesMasterIdLst>
  <p:handoutMasterIdLst>
    <p:handoutMasterId r:id="rId45"/>
  </p:handoutMasterIdLst>
  <p:sldIdLst>
    <p:sldId id="256" r:id="rId7"/>
    <p:sldId id="373" r:id="rId8"/>
    <p:sldId id="374" r:id="rId9"/>
    <p:sldId id="375" r:id="rId10"/>
    <p:sldId id="376" r:id="rId11"/>
    <p:sldId id="377" r:id="rId12"/>
    <p:sldId id="378" r:id="rId13"/>
    <p:sldId id="379" r:id="rId14"/>
    <p:sldId id="380" r:id="rId15"/>
    <p:sldId id="381" r:id="rId16"/>
    <p:sldId id="382" r:id="rId17"/>
    <p:sldId id="383" r:id="rId18"/>
    <p:sldId id="384" r:id="rId19"/>
    <p:sldId id="385" r:id="rId20"/>
    <p:sldId id="386" r:id="rId21"/>
    <p:sldId id="387" r:id="rId22"/>
    <p:sldId id="388" r:id="rId23"/>
    <p:sldId id="389" r:id="rId24"/>
    <p:sldId id="392" r:id="rId25"/>
    <p:sldId id="393" r:id="rId26"/>
    <p:sldId id="394" r:id="rId27"/>
    <p:sldId id="395" r:id="rId28"/>
    <p:sldId id="396" r:id="rId29"/>
    <p:sldId id="397" r:id="rId30"/>
    <p:sldId id="398" r:id="rId31"/>
    <p:sldId id="402" r:id="rId32"/>
    <p:sldId id="403" r:id="rId33"/>
    <p:sldId id="404" r:id="rId34"/>
    <p:sldId id="406" r:id="rId35"/>
    <p:sldId id="407" r:id="rId36"/>
    <p:sldId id="408" r:id="rId37"/>
    <p:sldId id="320" r:id="rId38"/>
    <p:sldId id="400" r:id="rId39"/>
    <p:sldId id="321" r:id="rId40"/>
    <p:sldId id="399" r:id="rId41"/>
    <p:sldId id="401" r:id="rId42"/>
    <p:sldId id="409" r:id="rId43"/>
  </p:sldIdLst>
  <p:sldSz cx="12192000" cy="6858000"/>
  <p:notesSz cx="6858000" cy="9144000"/>
  <p:custDataLst>
    <p:tags r:id="rId4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B3144A11-D7FB-4839-8D0E-F28A4E69FD66}">
          <p14:sldIdLst>
            <p14:sldId id="256"/>
            <p14:sldId id="373"/>
          </p14:sldIdLst>
        </p14:section>
        <p14:section name="A World of Peers" id="{E418E9EC-A6C3-4CE1-90D4-922659E6AC67}">
          <p14:sldIdLst>
            <p14:sldId id="374"/>
            <p14:sldId id="375"/>
          </p14:sldIdLst>
        </p14:section>
        <p14:section name="Local and Remote" id="{FCD303E9-D478-4DDA-ABA5-AA50D219D2F1}">
          <p14:sldIdLst>
            <p14:sldId id="376"/>
            <p14:sldId id="377"/>
          </p14:sldIdLst>
        </p14:section>
        <p14:section name="The Joy of Pushing" id="{B078D77E-7E19-4577-AB32-81C602415064}">
          <p14:sldIdLst>
            <p14:sldId id="378"/>
            <p14:sldId id="379"/>
          </p14:sldIdLst>
        </p14:section>
        <p14:section name="The Chore of Pulling" id="{5F977588-5364-4E5C-B04D-AB21C5BACC79}">
          <p14:sldIdLst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2"/>
            <p14:sldId id="393"/>
          </p14:sldIdLst>
        </p14:section>
        <p14:section name="Rebase Revisited" id="{4993B8E6-3EE5-49F4-AF1F-B5E6E72B37E0}">
          <p14:sldIdLst>
            <p14:sldId id="394"/>
            <p14:sldId id="395"/>
            <p14:sldId id="396"/>
            <p14:sldId id="397"/>
            <p14:sldId id="398"/>
          </p14:sldIdLst>
        </p14:section>
        <p14:section name="Getting Social" id="{1CA50162-CC25-42A4-98F2-BC3603FC434D}">
          <p14:sldIdLst>
            <p14:sldId id="402"/>
            <p14:sldId id="403"/>
            <p14:sldId id="404"/>
            <p14:sldId id="406"/>
            <p14:sldId id="407"/>
            <p14:sldId id="408"/>
          </p14:sldIdLst>
        </p14:section>
        <p14:section name="The Whole Onion" id="{BF0C0463-4466-4319-AC28-BBDD2127F9BD}">
          <p14:sldIdLst>
            <p14:sldId id="320"/>
            <p14:sldId id="400"/>
            <p14:sldId id="321"/>
            <p14:sldId id="399"/>
            <p14:sldId id="401"/>
            <p14:sldId id="4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892E"/>
    <a:srgbClr val="B0DD7F"/>
    <a:srgbClr val="AFAFAF"/>
    <a:srgbClr val="5CEE7F"/>
    <a:srgbClr val="594203"/>
    <a:srgbClr val="66FF99"/>
    <a:srgbClr val="00FF99"/>
    <a:srgbClr val="0079D6"/>
    <a:srgbClr val="FF6600"/>
    <a:srgbClr val="4B5A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83" autoAdjust="0"/>
    <p:restoredTop sz="85037" autoAdjust="0"/>
  </p:normalViewPr>
  <p:slideViewPr>
    <p:cSldViewPr snapToGrid="0" showGuides="1">
      <p:cViewPr varScale="1">
        <p:scale>
          <a:sx n="100" d="100"/>
          <a:sy n="100" d="100"/>
        </p:scale>
        <p:origin x="996" y="84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handoutMaster" Target="handoutMasters/handoutMaster1.xml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26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26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ajoute la dimension</a:t>
            </a:r>
            <a:r>
              <a:rPr lang="fr-FR" baseline="0" dirty="0" smtClean="0"/>
              <a:t> « distribuée » à gi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7541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ncore une fois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2742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nflit</a:t>
            </a:r>
            <a:r>
              <a:rPr lang="fr-FR" baseline="0" dirty="0" smtClean="0"/>
              <a:t> et l’historique doit être modifiée. 2 options 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61558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git push -f : perte de</a:t>
            </a:r>
            <a:r>
              <a:rPr lang="fr-FR" baseline="0" dirty="0" smtClean="0"/>
              <a:t> données probables sur </a:t>
            </a:r>
            <a:r>
              <a:rPr lang="fr-FR" baseline="0" dirty="0" err="1" smtClean="0"/>
              <a:t>origin</a:t>
            </a:r>
            <a:r>
              <a:rPr lang="fr-FR" baseline="0" dirty="0" smtClean="0"/>
              <a:t>. Le commit en vert sera </a:t>
            </a:r>
            <a:r>
              <a:rPr lang="fr-FR" baseline="0" dirty="0" err="1" smtClean="0"/>
              <a:t>garbabe</a:t>
            </a:r>
            <a:r>
              <a:rPr lang="fr-FR" baseline="0" dirty="0" smtClean="0"/>
              <a:t>-collecté. </a:t>
            </a:r>
          </a:p>
          <a:p>
            <a:r>
              <a:rPr lang="fr-FR" baseline="0" dirty="0" smtClean="0"/>
              <a:t>Problème pour tous les autres qui se sont synchronisés avec </a:t>
            </a:r>
            <a:r>
              <a:rPr lang="fr-FR" baseline="0" dirty="0" err="1" smtClean="0"/>
              <a:t>origin</a:t>
            </a:r>
            <a:r>
              <a:rPr lang="fr-FR" baseline="0" dirty="0" smtClean="0"/>
              <a:t>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98856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a meilleure solution</a:t>
            </a:r>
            <a:r>
              <a:rPr lang="fr-FR" baseline="0" dirty="0" smtClean="0"/>
              <a:t> : résoudre le conflit localement avant de pousser.</a:t>
            </a:r>
          </a:p>
          <a:p>
            <a:r>
              <a:rPr lang="fr-FR" baseline="0" dirty="0" smtClean="0"/>
              <a:t>On va récupérer ce qui se trouve sur </a:t>
            </a:r>
            <a:r>
              <a:rPr lang="fr-FR" baseline="0" dirty="0" err="1" smtClean="0"/>
              <a:t>origin</a:t>
            </a:r>
            <a:r>
              <a:rPr lang="fr-FR" baseline="0" dirty="0" smtClean="0"/>
              <a:t>, pour ça on utilise la commande git </a:t>
            </a:r>
            <a:r>
              <a:rPr lang="fr-FR" baseline="0" dirty="0" err="1" smtClean="0"/>
              <a:t>fetch</a:t>
            </a:r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57470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87066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3683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34293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59072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baseline="0" dirty="0" smtClean="0"/>
              <a:t>Facilement : avec un </a:t>
            </a:r>
            <a:r>
              <a:rPr lang="fr-FR" baseline="0" dirty="0" err="1" smtClean="0"/>
              <a:t>forced</a:t>
            </a:r>
            <a:r>
              <a:rPr lang="fr-FR" baseline="0" dirty="0" smtClean="0"/>
              <a:t> push ou pull / push.</a:t>
            </a:r>
          </a:p>
          <a:p>
            <a:r>
              <a:rPr lang="fr-FR" baseline="0" dirty="0" smtClean="0"/>
              <a:t>Good job! Maintenant on a la même chose des deux côté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71883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baseline="0" dirty="0" smtClean="0"/>
              <a:t>Annie se retrouve avec un joli conflit à résoudre à sa prochaine synchronisation. </a:t>
            </a:r>
          </a:p>
          <a:p>
            <a:r>
              <a:rPr lang="fr-FR" baseline="0" dirty="0" smtClean="0"/>
              <a:t>Elle va devoir comprendre ce qui s’est passé sur </a:t>
            </a:r>
            <a:r>
              <a:rPr lang="fr-FR" baseline="0" dirty="0" err="1" smtClean="0"/>
              <a:t>origin</a:t>
            </a:r>
            <a:r>
              <a:rPr lang="fr-FR" baseline="0" dirty="0" smtClean="0"/>
              <a:t>, résoudre un conflit dont elle n’est pas la cause.</a:t>
            </a:r>
          </a:p>
          <a:p>
            <a:r>
              <a:rPr lang="fr-FR" baseline="0" dirty="0" smtClean="0"/>
              <a:t>Son historique va même être modifié à cause de notre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 alors qu’elle a déjà une partie des modifications en local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274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epo distant (n’importe où) + repo local</a:t>
            </a:r>
            <a:r>
              <a:rPr lang="fr-FR" baseline="0" dirty="0" smtClean="0"/>
              <a:t> qui doit pouvoir communiquer avec le distant</a:t>
            </a:r>
          </a:p>
          <a:p>
            <a:r>
              <a:rPr lang="fr-FR" dirty="0" smtClean="0"/>
              <a:t>git_module04_lab01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905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1.</a:t>
            </a:r>
            <a:r>
              <a:rPr lang="fr-FR" baseline="0" dirty="0" smtClean="0"/>
              <a:t> On peut cloner en local mais pas moyen de </a:t>
            </a:r>
            <a:r>
              <a:rPr lang="fr-FR" baseline="0" dirty="0" err="1" smtClean="0"/>
              <a:t>pushe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48369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Un fork n’est PAS une fonctionnalité de git.</a:t>
            </a:r>
          </a:p>
          <a:p>
            <a:r>
              <a:rPr lang="fr-FR" dirty="0" smtClean="0"/>
              <a:t>C’est un clone,</a:t>
            </a:r>
            <a:r>
              <a:rPr lang="fr-FR" baseline="0" dirty="0" smtClean="0"/>
              <a:t> distant, sur </a:t>
            </a:r>
            <a:r>
              <a:rPr lang="fr-FR" baseline="0" dirty="0" err="1" smtClean="0"/>
              <a:t>GitHub</a:t>
            </a:r>
            <a:r>
              <a:rPr lang="fr-FR" baseline="0" dirty="0" smtClean="0"/>
              <a:t> ou ailleurs d’un repo existan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031075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e repo</a:t>
            </a:r>
            <a:r>
              <a:rPr lang="fr-FR" baseline="0" dirty="0" smtClean="0"/>
              <a:t> local nous permet de push en </a:t>
            </a:r>
            <a:r>
              <a:rPr lang="fr-FR" baseline="0" dirty="0" err="1" smtClean="0"/>
              <a:t>remote</a:t>
            </a:r>
            <a:r>
              <a:rPr lang="fr-FR" baseline="0" dirty="0" smtClean="0"/>
              <a:t>, mais aucun lien n’existe avec l’original.</a:t>
            </a:r>
          </a:p>
          <a:p>
            <a:r>
              <a:rPr lang="fr-FR" baseline="0" dirty="0" err="1" smtClean="0"/>
              <a:t>GitHub</a:t>
            </a:r>
            <a:r>
              <a:rPr lang="fr-FR" baseline="0" dirty="0" smtClean="0"/>
              <a:t> (ou VSTS) sait que les 2 projets sont connectés, pas git. Si on veut le faire il faut ajouter manuellement ce qu’on appelle (par convention) « </a:t>
            </a:r>
            <a:r>
              <a:rPr lang="fr-FR" baseline="0" dirty="0" err="1" smtClean="0"/>
              <a:t>remot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upstream</a:t>
            </a:r>
            <a:r>
              <a:rPr lang="fr-FR" baseline="0" dirty="0" smtClean="0"/>
              <a:t> ». On a maintenant plusieurs </a:t>
            </a:r>
            <a:r>
              <a:rPr lang="fr-FR" baseline="0" dirty="0" err="1" smtClean="0"/>
              <a:t>remot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285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41149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ne</a:t>
            </a:r>
            <a:r>
              <a:rPr lang="fr-FR" baseline="0" dirty="0" smtClean="0"/>
              <a:t> peut malheureusement toujours pas pousser sur </a:t>
            </a:r>
            <a:r>
              <a:rPr lang="fr-FR" baseline="0" dirty="0" err="1" smtClean="0"/>
              <a:t>upstream</a:t>
            </a:r>
            <a:r>
              <a:rPr lang="fr-FR" baseline="0" dirty="0" smtClean="0"/>
              <a:t> !</a:t>
            </a:r>
          </a:p>
          <a:p>
            <a:r>
              <a:rPr lang="fr-FR" baseline="0" dirty="0" smtClean="0"/>
              <a:t>Mais </a:t>
            </a:r>
            <a:r>
              <a:rPr lang="fr-FR" baseline="0" dirty="0" err="1" smtClean="0"/>
              <a:t>GitHub</a:t>
            </a:r>
            <a:r>
              <a:rPr lang="fr-FR" baseline="0" dirty="0" smtClean="0"/>
              <a:t> (ou VSTS) nous offre une alternative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34261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Une PR n’est PAS une fonctionnalité de git,</a:t>
            </a:r>
            <a:r>
              <a:rPr lang="fr-FR" baseline="0" dirty="0" smtClean="0"/>
              <a:t> ni même d’un CSV.</a:t>
            </a:r>
          </a:p>
          <a:p>
            <a:r>
              <a:rPr lang="fr-FR" baseline="0" dirty="0" smtClean="0"/>
              <a:t>C’est une commodité « sociale » !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09220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appeler le côté distribué, contrairement</a:t>
            </a:r>
            <a:r>
              <a:rPr lang="fr-FR" baseline="0" dirty="0" smtClean="0"/>
              <a:t> à Subversion ou TFS.</a:t>
            </a:r>
          </a:p>
          <a:p>
            <a:r>
              <a:rPr lang="fr-FR" baseline="0" dirty="0" smtClean="0"/>
              <a:t>Le choix du </a:t>
            </a:r>
            <a:r>
              <a:rPr lang="fr-FR" baseline="0" dirty="0" err="1" smtClean="0"/>
              <a:t>répo</a:t>
            </a:r>
            <a:r>
              <a:rPr lang="fr-FR" baseline="0" dirty="0" smtClean="0"/>
              <a:t> de référence reste une convention à défini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5924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 rester</a:t>
            </a:r>
            <a:r>
              <a:rPr lang="fr-FR" baseline="0" dirty="0" smtClean="0"/>
              <a:t> synchronisé ? Comment local peut garder l’adresse de </a:t>
            </a:r>
            <a:r>
              <a:rPr lang="fr-FR" baseline="0" dirty="0" err="1" smtClean="0"/>
              <a:t>remote</a:t>
            </a:r>
            <a:r>
              <a:rPr lang="fr-FR" baseline="0" smtClean="0"/>
              <a:t> ?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2593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enchaine sur la synchronisation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93194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appeler que les</a:t>
            </a:r>
            <a:r>
              <a:rPr lang="fr-FR" baseline="0" dirty="0" smtClean="0"/>
              <a:t> SHA1 sont uniques, et que cette particularité va être util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676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fr-FR" baseline="0" dirty="0" smtClean="0"/>
              <a:t>Git clone nous a permis de récupérer depuis le </a:t>
            </a:r>
            <a:r>
              <a:rPr lang="fr-FR" baseline="0" dirty="0" err="1" smtClean="0"/>
              <a:t>remote</a:t>
            </a:r>
            <a:endParaRPr lang="fr-FR" baseline="0" dirty="0" smtClean="0"/>
          </a:p>
          <a:p>
            <a:pPr marL="228600" indent="-228600">
              <a:buAutoNum type="arabicPeriod"/>
            </a:pPr>
            <a:r>
              <a:rPr lang="fr-FR" baseline="0" dirty="0" smtClean="0"/>
              <a:t>En local, les nouveaux éléments (SHA1 uniques) peuvent être synchronisés</a:t>
            </a:r>
          </a:p>
          <a:p>
            <a:pPr marL="228600" indent="-228600">
              <a:buAutoNum type="arabicPeriod"/>
            </a:pPr>
            <a:r>
              <a:rPr lang="fr-FR" baseline="0" dirty="0" smtClean="0"/>
              <a:t>Mais, git doit aussi garder les branches synchronisées entre les différents clon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70435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dirty="0" smtClean="0"/>
              <a:t>Que se passe t-il si d’autres clones poussent vers </a:t>
            </a:r>
            <a:r>
              <a:rPr lang="fr-FR" dirty="0" err="1" smtClean="0"/>
              <a:t>origin</a:t>
            </a:r>
            <a:r>
              <a:rPr lang="fr-FR" dirty="0" smtClean="0"/>
              <a:t> ? Comment rester synchronisé</a:t>
            </a:r>
            <a:r>
              <a:rPr lang="fr-FR" baseline="0" dirty="0" smtClean="0"/>
              <a:t> ?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4941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’est</a:t>
            </a:r>
            <a:r>
              <a:rPr lang="fr-FR" baseline="0" dirty="0" smtClean="0"/>
              <a:t> ce qui s’est passé quand on a push il y a quelques minut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2048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4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Distributed</a:t>
            </a:r>
            <a:r>
              <a:rPr lang="fr-FR" dirty="0"/>
              <a:t> Version Contro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nchronizing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a </a:t>
            </a:r>
            <a:r>
              <a:rPr lang="fr-FR" dirty="0" err="1" smtClean="0"/>
              <a:t>Remot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Rectangular Callout 20"/>
          <p:cNvSpPr/>
          <p:nvPr/>
        </p:nvSpPr>
        <p:spPr>
          <a:xfrm>
            <a:off x="3176157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2" name="Rectangular Callout 21"/>
          <p:cNvSpPr/>
          <p:nvPr/>
        </p:nvSpPr>
        <p:spPr>
          <a:xfrm>
            <a:off x="3176156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6697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Adding</a:t>
            </a:r>
            <a:r>
              <a:rPr lang="fr-FR" dirty="0" smtClean="0"/>
              <a:t> a Commi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Rectangular Callout 20"/>
          <p:cNvSpPr/>
          <p:nvPr/>
        </p:nvSpPr>
        <p:spPr>
          <a:xfrm>
            <a:off x="3176157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2" name="Rectangular Callout 21"/>
          <p:cNvSpPr/>
          <p:nvPr/>
        </p:nvSpPr>
        <p:spPr>
          <a:xfrm>
            <a:off x="3176156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ectangular Callout 23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70966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push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Rectangular Callout 20"/>
          <p:cNvSpPr/>
          <p:nvPr/>
        </p:nvSpPr>
        <p:spPr>
          <a:xfrm>
            <a:off x="3176157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ectangular Callout 23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ular Callout 27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9" name="Rectangular Callout 28"/>
          <p:cNvSpPr/>
          <p:nvPr/>
        </p:nvSpPr>
        <p:spPr>
          <a:xfrm>
            <a:off x="4260053" y="5362815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3544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6" grpId="0" animBg="1"/>
      <p:bldP spid="28" grpId="0" animBg="1"/>
      <p:bldP spid="2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nchronizing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a </a:t>
            </a:r>
            <a:r>
              <a:rPr lang="fr-FR" dirty="0" err="1" smtClean="0"/>
              <a:t>Remot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Rectangular Callout 20"/>
          <p:cNvSpPr/>
          <p:nvPr/>
        </p:nvSpPr>
        <p:spPr>
          <a:xfrm>
            <a:off x="3176157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2" name="Rectangular Callout 21"/>
          <p:cNvSpPr/>
          <p:nvPr/>
        </p:nvSpPr>
        <p:spPr>
          <a:xfrm>
            <a:off x="3176156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6626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12" grpId="0" animBg="1"/>
      <p:bldP spid="16" grpId="0" animBg="1"/>
      <p:bldP spid="17" grpId="0" animBg="1"/>
      <p:bldP spid="2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onflict</a:t>
            </a:r>
            <a:r>
              <a:rPr lang="fr-FR" dirty="0" smtClean="0"/>
              <a:t>!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2928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orce push (-f)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5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026171" y="1811610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743326" y="2160020"/>
            <a:ext cx="282845" cy="32130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3737690" y="1272307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30" name="Rectangular Callout 29"/>
          <p:cNvSpPr/>
          <p:nvPr/>
        </p:nvSpPr>
        <p:spPr>
          <a:xfrm>
            <a:off x="4260053" y="5362815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9899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7" grpId="0" animBg="1"/>
      <p:bldP spid="24" grpId="0" animBg="1"/>
      <p:bldP spid="27" grpId="0" animBg="1"/>
      <p:bldP spid="29" grpId="0" animBg="1"/>
      <p:bldP spid="3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478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fetch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9873" y="4409554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909978" y="4595949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274601" y="400599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5221501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8" y="4983606"/>
            <a:ext cx="738140" cy="37921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ular Callout 25"/>
          <p:cNvSpPr/>
          <p:nvPr/>
        </p:nvSpPr>
        <p:spPr>
          <a:xfrm>
            <a:off x="4083258" y="5801369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914340" y="4808931"/>
            <a:ext cx="353585" cy="35358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5148455" y="5103542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35409" y="4585498"/>
            <a:ext cx="751186" cy="32955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ular Callout 33"/>
          <p:cNvSpPr/>
          <p:nvPr/>
        </p:nvSpPr>
        <p:spPr>
          <a:xfrm>
            <a:off x="5566193" y="4307079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61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6" grpId="0" animBg="1"/>
      <p:bldP spid="22" grpId="0" animBg="1"/>
      <p:bldP spid="26" grpId="0" animBg="1"/>
      <p:bldP spid="28" grpId="0" animBg="1"/>
      <p:bldP spid="3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push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8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5452899" y="5345309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9873" y="4409554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909978" y="4595949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5221501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8" y="4983606"/>
            <a:ext cx="738140" cy="37921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ular Callout 25"/>
          <p:cNvSpPr/>
          <p:nvPr/>
        </p:nvSpPr>
        <p:spPr>
          <a:xfrm>
            <a:off x="4083258" y="5801369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914340" y="4808931"/>
            <a:ext cx="353585" cy="35358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5148455" y="5103542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35409" y="4585498"/>
            <a:ext cx="751186" cy="32955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ular Callout 33"/>
          <p:cNvSpPr/>
          <p:nvPr/>
        </p:nvSpPr>
        <p:spPr>
          <a:xfrm>
            <a:off x="5566193" y="4307079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9873" y="2135321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909978" y="2321716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tangular Callout 32"/>
          <p:cNvSpPr/>
          <p:nvPr/>
        </p:nvSpPr>
        <p:spPr>
          <a:xfrm>
            <a:off x="4274601" y="173176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21494" y="2947268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8" y="2709373"/>
            <a:ext cx="738140" cy="37921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5914340" y="2534698"/>
            <a:ext cx="353585" cy="35358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5148455" y="2829309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35409" y="2311265"/>
            <a:ext cx="751186" cy="32955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ctangular Callout 39"/>
          <p:cNvSpPr/>
          <p:nvPr/>
        </p:nvSpPr>
        <p:spPr>
          <a:xfrm>
            <a:off x="5566193" y="2032846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5112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6" grpId="0" animBg="1"/>
      <p:bldP spid="33" grpId="0" animBg="1"/>
      <p:bldP spid="35" grpId="0" animBg="1"/>
      <p:bldP spid="37" grpId="0" animBg="1"/>
      <p:bldP spid="4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“fetch” and “merge”, then you “push”.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324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is</a:t>
            </a:r>
            <a:r>
              <a:rPr lang="fr-FR" dirty="0" smtClean="0"/>
              <a:t>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Distributed Revision Control System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008011F-F481-44B1-A7AA-A403E3E4CC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96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“pull”, then you </a:t>
            </a:r>
            <a:br>
              <a:rPr lang="en-US" dirty="0"/>
            </a:br>
            <a:r>
              <a:rPr lang="en-US" dirty="0"/>
              <a:t>“push”.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3979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1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220768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0768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Rectangular Callout 32"/>
          <p:cNvSpPr/>
          <p:nvPr/>
        </p:nvSpPr>
        <p:spPr>
          <a:xfrm>
            <a:off x="3652604" y="1742135"/>
            <a:ext cx="930543" cy="330556"/>
          </a:xfrm>
          <a:prstGeom prst="wedgeRectCallout">
            <a:avLst>
              <a:gd name="adj1" fmla="val 61698"/>
              <a:gd name="adj2" fmla="val 2517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2889021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0320" y="1873616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5083" y="319043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2168802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ular Callout 46"/>
          <p:cNvSpPr/>
          <p:nvPr/>
        </p:nvSpPr>
        <p:spPr>
          <a:xfrm>
            <a:off x="4441840" y="2711490"/>
            <a:ext cx="930543" cy="330556"/>
          </a:xfrm>
          <a:prstGeom prst="wedgeRectCallout">
            <a:avLst>
              <a:gd name="adj1" fmla="val -7907"/>
              <a:gd name="adj2" fmla="val 8568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6" name="Rectangular Callout 55"/>
          <p:cNvSpPr/>
          <p:nvPr/>
        </p:nvSpPr>
        <p:spPr>
          <a:xfrm>
            <a:off x="3639308" y="4016368"/>
            <a:ext cx="930543" cy="330556"/>
          </a:xfrm>
          <a:prstGeom prst="wedgeRectCallout">
            <a:avLst>
              <a:gd name="adj1" fmla="val 61698"/>
              <a:gd name="adj2" fmla="val 3382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5163254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0320" y="41478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5083" y="546466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4443035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Rectangular Callout 60"/>
          <p:cNvSpPr/>
          <p:nvPr/>
        </p:nvSpPr>
        <p:spPr>
          <a:xfrm>
            <a:off x="4441840" y="4997238"/>
            <a:ext cx="930543" cy="330556"/>
          </a:xfrm>
          <a:prstGeom prst="wedgeRectCallout">
            <a:avLst>
              <a:gd name="adj1" fmla="val -7908"/>
              <a:gd name="adj2" fmla="val 82806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3243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rebase</a:t>
            </a:r>
            <a:r>
              <a:rPr lang="fr-FR" dirty="0" smtClean="0"/>
              <a:t> maste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220768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0768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Rectangular Callout 32"/>
          <p:cNvSpPr/>
          <p:nvPr/>
        </p:nvSpPr>
        <p:spPr>
          <a:xfrm>
            <a:off x="3652604" y="1742135"/>
            <a:ext cx="930543" cy="330556"/>
          </a:xfrm>
          <a:prstGeom prst="wedgeRectCallout">
            <a:avLst>
              <a:gd name="adj1" fmla="val 61698"/>
              <a:gd name="adj2" fmla="val 2517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2889021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0320" y="1873616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5083" y="319043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2168802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ular Callout 46"/>
          <p:cNvSpPr/>
          <p:nvPr/>
        </p:nvSpPr>
        <p:spPr>
          <a:xfrm>
            <a:off x="4441840" y="2711490"/>
            <a:ext cx="930543" cy="330556"/>
          </a:xfrm>
          <a:prstGeom prst="wedgeRectCallout">
            <a:avLst>
              <a:gd name="adj1" fmla="val -7907"/>
              <a:gd name="adj2" fmla="val 8568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6" name="Rectangular Callout 55"/>
          <p:cNvSpPr/>
          <p:nvPr/>
        </p:nvSpPr>
        <p:spPr>
          <a:xfrm>
            <a:off x="3639308" y="4016368"/>
            <a:ext cx="930543" cy="330556"/>
          </a:xfrm>
          <a:prstGeom prst="wedgeRectCallout">
            <a:avLst>
              <a:gd name="adj1" fmla="val 61698"/>
              <a:gd name="adj2" fmla="val 3382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5163254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0320" y="41478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5083" y="546466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4443035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Rectangular Callout 60"/>
          <p:cNvSpPr/>
          <p:nvPr/>
        </p:nvSpPr>
        <p:spPr>
          <a:xfrm>
            <a:off x="4441840" y="4997238"/>
            <a:ext cx="930543" cy="330556"/>
          </a:xfrm>
          <a:prstGeom prst="wedgeRectCallout">
            <a:avLst>
              <a:gd name="adj1" fmla="val -7908"/>
              <a:gd name="adj2" fmla="val 82806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6008258" y="41478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!</a:t>
            </a:r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74524" y="4324641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5719778" y="4615162"/>
            <a:ext cx="930543" cy="330556"/>
          </a:xfrm>
          <a:prstGeom prst="wedgeRectCallout">
            <a:avLst>
              <a:gd name="adj1" fmla="val -20191"/>
              <a:gd name="adj2" fmla="val -7567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3200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1" grpId="0" animBg="1"/>
      <p:bldP spid="21" grpId="0" animBg="1"/>
      <p:bldP spid="2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olving</a:t>
            </a:r>
            <a:r>
              <a:rPr lang="fr-FR" dirty="0" smtClean="0"/>
              <a:t> the </a:t>
            </a:r>
            <a:r>
              <a:rPr lang="fr-FR" dirty="0" err="1" smtClean="0"/>
              <a:t>conflic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220768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0768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Rectangular Callout 32"/>
          <p:cNvSpPr/>
          <p:nvPr/>
        </p:nvSpPr>
        <p:spPr>
          <a:xfrm>
            <a:off x="3652604" y="1742135"/>
            <a:ext cx="930543" cy="330556"/>
          </a:xfrm>
          <a:prstGeom prst="wedgeRectCallout">
            <a:avLst>
              <a:gd name="adj1" fmla="val 61698"/>
              <a:gd name="adj2" fmla="val 2517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2889021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0320" y="1873616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5083" y="319043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2168802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ular Callout 46"/>
          <p:cNvSpPr/>
          <p:nvPr/>
        </p:nvSpPr>
        <p:spPr>
          <a:xfrm>
            <a:off x="4441840" y="2711490"/>
            <a:ext cx="930543" cy="330556"/>
          </a:xfrm>
          <a:prstGeom prst="wedgeRectCallout">
            <a:avLst>
              <a:gd name="adj1" fmla="val -7907"/>
              <a:gd name="adj2" fmla="val 8568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6" name="Rectangular Callout 55"/>
          <p:cNvSpPr/>
          <p:nvPr/>
        </p:nvSpPr>
        <p:spPr>
          <a:xfrm>
            <a:off x="3639308" y="4016368"/>
            <a:ext cx="930543" cy="330556"/>
          </a:xfrm>
          <a:prstGeom prst="wedgeRectCallout">
            <a:avLst>
              <a:gd name="adj1" fmla="val 61698"/>
              <a:gd name="adj2" fmla="val 3382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0320" y="41478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4443035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6008258" y="41478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!</a:t>
            </a:r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74524" y="4324641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5719778" y="4615162"/>
            <a:ext cx="930543" cy="330556"/>
          </a:xfrm>
          <a:prstGeom prst="wedgeRectCallout">
            <a:avLst>
              <a:gd name="adj1" fmla="val -20191"/>
              <a:gd name="adj2" fmla="val -7567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6014181" y="187361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!</a:t>
            </a:r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80447" y="2050408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ular Callout 27"/>
          <p:cNvSpPr/>
          <p:nvPr/>
        </p:nvSpPr>
        <p:spPr>
          <a:xfrm>
            <a:off x="5725701" y="2340929"/>
            <a:ext cx="930543" cy="330556"/>
          </a:xfrm>
          <a:prstGeom prst="wedgeRectCallout">
            <a:avLst>
              <a:gd name="adj1" fmla="val -20191"/>
              <a:gd name="adj2" fmla="val -7567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57553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7" grpId="0" animBg="1"/>
      <p:bldP spid="25" grpId="0" animBg="1"/>
      <p:bldP spid="2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Another</a:t>
            </a:r>
            <a:r>
              <a:rPr lang="fr-FR" dirty="0" smtClean="0"/>
              <a:t> use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220768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annie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0768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Rectangular Callout 32"/>
          <p:cNvSpPr/>
          <p:nvPr/>
        </p:nvSpPr>
        <p:spPr>
          <a:xfrm>
            <a:off x="3652604" y="1742135"/>
            <a:ext cx="930543" cy="330556"/>
          </a:xfrm>
          <a:prstGeom prst="wedgeRectCallout">
            <a:avLst>
              <a:gd name="adj1" fmla="val 61698"/>
              <a:gd name="adj2" fmla="val 2517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0320" y="1873616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2168802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ectangular Callout 55"/>
          <p:cNvSpPr/>
          <p:nvPr/>
        </p:nvSpPr>
        <p:spPr>
          <a:xfrm>
            <a:off x="3639308" y="4016368"/>
            <a:ext cx="930543" cy="330556"/>
          </a:xfrm>
          <a:prstGeom prst="wedgeRectCallout">
            <a:avLst>
              <a:gd name="adj1" fmla="val 61698"/>
              <a:gd name="adj2" fmla="val 3382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0320" y="41478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4443035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6014181" y="187361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!</a:t>
            </a:r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80447" y="2050408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ular Callout 27"/>
          <p:cNvSpPr/>
          <p:nvPr/>
        </p:nvSpPr>
        <p:spPr>
          <a:xfrm>
            <a:off x="5725701" y="2340929"/>
            <a:ext cx="930543" cy="330556"/>
          </a:xfrm>
          <a:prstGeom prst="wedgeRectCallout">
            <a:avLst>
              <a:gd name="adj1" fmla="val -20191"/>
              <a:gd name="adj2" fmla="val -7567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5163254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4735083" y="546466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Rectangular Callout 30"/>
          <p:cNvSpPr/>
          <p:nvPr/>
        </p:nvSpPr>
        <p:spPr>
          <a:xfrm>
            <a:off x="4441840" y="4997238"/>
            <a:ext cx="930543" cy="330556"/>
          </a:xfrm>
          <a:prstGeom prst="wedgeRectCallout">
            <a:avLst>
              <a:gd name="adj1" fmla="val -7908"/>
              <a:gd name="adj2" fmla="val 82806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A8539DB9-3193-446D-AAD0-3F53798A7C20}"/>
              </a:ext>
            </a:extLst>
          </p:cNvPr>
          <p:cNvSpPr/>
          <p:nvPr/>
        </p:nvSpPr>
        <p:spPr>
          <a:xfrm>
            <a:off x="6014181" y="5464669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xmlns="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80447" y="5641461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ular Callout 35"/>
          <p:cNvSpPr/>
          <p:nvPr/>
        </p:nvSpPr>
        <p:spPr>
          <a:xfrm>
            <a:off x="5667398" y="4997238"/>
            <a:ext cx="930543" cy="330556"/>
          </a:xfrm>
          <a:prstGeom prst="wedgeRectCallout">
            <a:avLst>
              <a:gd name="adj1" fmla="val -7908"/>
              <a:gd name="adj2" fmla="val 82806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68416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4" grpId="0" animBg="1"/>
      <p:bldP spid="3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ver rebase shared commits.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89522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GitHub</a:t>
            </a:r>
            <a:r>
              <a:rPr lang="fr-FR" dirty="0" smtClean="0"/>
              <a:t> / VSTS </a:t>
            </a:r>
            <a:r>
              <a:rPr lang="fr-FR" dirty="0" err="1" smtClean="0"/>
              <a:t>Featur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28387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ork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0" name="TextBox 9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</p:spTree>
    <p:extLst>
      <p:ext uri="{BB962C8B-B14F-4D97-AF65-F5344CB8AC3E}">
        <p14:creationId xmlns:p14="http://schemas.microsoft.com/office/powerpoint/2010/main" val="6794109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on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8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918" y="3094371"/>
            <a:ext cx="531788" cy="20400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328608" y="513231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13" name="Rectangle 12"/>
          <p:cNvSpPr/>
          <p:nvPr/>
        </p:nvSpPr>
        <p:spPr>
          <a:xfrm>
            <a:off x="6785538" y="4405982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27113">
            <a:off x="5110432" y="2944852"/>
            <a:ext cx="510638" cy="282087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629150" y="4696534"/>
            <a:ext cx="1276859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upstream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</p:spTree>
    <p:extLst>
      <p:ext uri="{BB962C8B-B14F-4D97-AF65-F5344CB8AC3E}">
        <p14:creationId xmlns:p14="http://schemas.microsoft.com/office/powerpoint/2010/main" val="23713683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ush to </a:t>
            </a:r>
            <a:r>
              <a:rPr lang="fr-FR" dirty="0" err="1" smtClean="0"/>
              <a:t>origin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9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918" y="3094371"/>
            <a:ext cx="531788" cy="20400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328608" y="513231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13" name="Rectangle 12"/>
          <p:cNvSpPr/>
          <p:nvPr/>
        </p:nvSpPr>
        <p:spPr>
          <a:xfrm>
            <a:off x="6785538" y="4405982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27113">
            <a:off x="5110432" y="2944852"/>
            <a:ext cx="510638" cy="282087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629150" y="4696534"/>
            <a:ext cx="1276859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upstream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7390890" y="5164199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9" name="Cloud 1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524287" y="1798855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22" name="Cloud 2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Cloud 2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5078369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ultiple Repo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21" name="Rounded Rectangular Callout 2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226590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ull </a:t>
            </a:r>
            <a:r>
              <a:rPr lang="fr-FR" dirty="0" err="1" smtClean="0"/>
              <a:t>from</a:t>
            </a:r>
            <a:r>
              <a:rPr lang="fr-FR" dirty="0" smtClean="0"/>
              <a:t> </a:t>
            </a:r>
            <a:r>
              <a:rPr lang="fr-FR" dirty="0" err="1" smtClean="0"/>
              <a:t>upstream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0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918" y="3094371"/>
            <a:ext cx="531788" cy="20400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328608" y="513231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13" name="Rectangle 12"/>
          <p:cNvSpPr/>
          <p:nvPr/>
        </p:nvSpPr>
        <p:spPr>
          <a:xfrm>
            <a:off x="6785538" y="4405982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27113">
            <a:off x="5110432" y="2944852"/>
            <a:ext cx="510638" cy="282087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629150" y="4696534"/>
            <a:ext cx="1276859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upstream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7390890" y="5164199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9" name="Cloud 1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524287" y="1798855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22" name="Cloud 2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Cloud 2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495902" y="2329284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5" name="Cloud 2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" name="Cloud 2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382177" y="5612021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8" name="Cloud 27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Cloud 28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524287" y="2218633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31" name="Cloud 30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Cloud 3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795737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ull </a:t>
            </a:r>
            <a:r>
              <a:rPr lang="fr-FR" dirty="0" err="1" smtClean="0"/>
              <a:t>Reques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1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918" y="3094371"/>
            <a:ext cx="531788" cy="20400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328608" y="513231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13" name="Rectangle 12"/>
          <p:cNvSpPr/>
          <p:nvPr/>
        </p:nvSpPr>
        <p:spPr>
          <a:xfrm>
            <a:off x="6785538" y="4405982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27113">
            <a:off x="5110432" y="2944852"/>
            <a:ext cx="510638" cy="282087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629150" y="4696534"/>
            <a:ext cx="1276859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upstream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7390890" y="5164199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9" name="Cloud 1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524287" y="1798855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22" name="Cloud 2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Cloud 2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495902" y="2329284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5" name="Cloud 2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" name="Cloud 2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382177" y="5612021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8" name="Cloud 27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Cloud 28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524287" y="2218633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31" name="Cloud 30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Cloud 3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7473" y="1952832"/>
            <a:ext cx="728657" cy="473981"/>
          </a:xfrm>
          <a:prstGeom prst="rect">
            <a:avLst/>
          </a:prstGeom>
        </p:spPr>
      </p:pic>
      <p:grpSp>
        <p:nvGrpSpPr>
          <p:cNvPr id="33" name="Group 32"/>
          <p:cNvGrpSpPr/>
          <p:nvPr/>
        </p:nvGrpSpPr>
        <p:grpSpPr>
          <a:xfrm>
            <a:off x="3495902" y="1921041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34" name="Cloud 33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5" name="Cloud 34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9574718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-2.96296E-6 L -0.14258 0.004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135" y="20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Persistent </a:t>
            </a:r>
            <a:r>
              <a:rPr lang="fr-FR" dirty="0" err="1" smtClean="0"/>
              <a:t>Map</a:t>
            </a:r>
            <a:endParaRPr lang="fr-FR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2930" y="2819400"/>
            <a:ext cx="4231901" cy="199927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5594969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Stupid</a:t>
            </a:r>
            <a:r>
              <a:rPr lang="fr-FR" dirty="0"/>
              <a:t> Content </a:t>
            </a:r>
            <a:r>
              <a:rPr lang="fr-FR" dirty="0" err="1"/>
              <a:t>Tracker</a:t>
            </a:r>
            <a:endParaRPr lang="fr-FR" dirty="0"/>
          </a:p>
          <a:p>
            <a:endParaRPr lang="fr-FR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4382" y="2556241"/>
            <a:ext cx="4452785" cy="174551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7976959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Revision</a:t>
            </a:r>
            <a:r>
              <a:rPr lang="fr-FR" dirty="0"/>
              <a:t> Control Syste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462571">
            <a:off x="7261607" y="3071431"/>
            <a:ext cx="3416283" cy="179290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763500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Distributed Revision Control </a:t>
            </a:r>
            <a:r>
              <a:rPr lang="en-US" dirty="0" smtClean="0"/>
              <a:t>Syste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E008011F-F481-44B1-A7AA-A403E3E4CC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8741" y="2596283"/>
            <a:ext cx="3933340" cy="226695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8441772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2" t="6740" r="18506" b="22784"/>
          <a:stretch/>
        </p:blipFill>
        <p:spPr>
          <a:xfrm>
            <a:off x="3439885" y="2028190"/>
            <a:ext cx="5529943" cy="483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E008011F-F481-44B1-A7AA-A403E3E4CC9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rcRect l="27304" t="9938" r="37139" b="19029"/>
          <a:stretch/>
        </p:blipFill>
        <p:spPr>
          <a:xfrm>
            <a:off x="4381499" y="1162050"/>
            <a:ext cx="2686051" cy="401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1073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60000" y="6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0 L 0.09297 -0.0652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48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Thanks</a:t>
            </a:r>
            <a:r>
              <a:rPr lang="fr-FR" dirty="0" smtClean="0"/>
              <a:t>!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5734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ultiple Repo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9566" y="4184605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5000"/>
                  <a:tint val="66000"/>
                  <a:satMod val="160000"/>
                </a:schemeClr>
              </a:gs>
              <a:gs pos="50000">
                <a:schemeClr val="accent4">
                  <a:lumMod val="75000"/>
                  <a:tint val="44500"/>
                  <a:satMod val="160000"/>
                </a:schemeClr>
              </a:gs>
              <a:gs pos="100000">
                <a:schemeClr val="accent4">
                  <a:lumMod val="75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8834" y="383700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83415">
            <a:off x="6917324" y="4370024"/>
            <a:ext cx="531788" cy="176593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66033">
            <a:off x="3949881" y="4676851"/>
            <a:ext cx="531788" cy="176593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951245">
            <a:off x="4051408" y="4262034"/>
            <a:ext cx="531788" cy="176593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399184">
            <a:off x="6890901" y="1922245"/>
            <a:ext cx="510638" cy="226881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288766">
            <a:off x="3702052" y="2143041"/>
            <a:ext cx="531788" cy="252956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5872" y="1403408"/>
            <a:ext cx="914312" cy="704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5349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5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6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7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8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9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mot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5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21" name="Rounded Rectangular Callout 2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2491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ke a local branch, a remote branch</a:t>
            </a:r>
            <a:br>
              <a:rPr lang="en-US" dirty="0"/>
            </a:br>
            <a:r>
              <a:rPr lang="en-US" dirty="0"/>
              <a:t>is just a reference to a commit.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04873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EE63CE2-3370-4E7E-829F-A328E84D4A66}"/>
              </a:ext>
            </a:extLst>
          </p:cNvPr>
          <p:cNvSpPr txBox="1"/>
          <p:nvPr/>
        </p:nvSpPr>
        <p:spPr>
          <a:xfrm>
            <a:off x="5198318" y="1876097"/>
            <a:ext cx="179536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"Apple Pie"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FDA2B1A-9AA0-454F-A0E4-EC959F9E90E9}"/>
              </a:ext>
            </a:extLst>
          </p:cNvPr>
          <p:cNvSpPr txBox="1"/>
          <p:nvPr/>
        </p:nvSpPr>
        <p:spPr>
          <a:xfrm>
            <a:off x="2170246" y="4992414"/>
            <a:ext cx="78515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23991897e13e47ed0adb91a0082c31c82fe0cbe5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="" xmlns:a16="http://schemas.microsoft.com/office/drawing/2014/main" id="{75364A1D-8566-4378-9A03-9B7D8A84C805}"/>
              </a:ext>
            </a:extLst>
          </p:cNvPr>
          <p:cNvCxnSpPr>
            <a:cxnSpLocks/>
          </p:cNvCxnSpPr>
          <p:nvPr/>
        </p:nvCxnSpPr>
        <p:spPr>
          <a:xfrm>
            <a:off x="6096000" y="2522483"/>
            <a:ext cx="0" cy="2301766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61868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nchronizing</a:t>
            </a:r>
            <a:r>
              <a:rPr lang="fr-FR" dirty="0" smtClean="0"/>
              <a:t> Repo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8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21" name="Rounded Rectangular Callout 2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281954" y="2116350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2" name="Cloud 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Cloud 1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802249" y="2116350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7" name="Cloud 16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267810" y="2116350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4" name="Cloud 23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Cloud 24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465793" y="5322168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27" name="Cloud 26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Cloud 27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986088" y="5322168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30" name="Cloud 29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Cloud 30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451649" y="5322168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33" name="Cloud 32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Cloud 33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682670" y="5770813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36" name="Cloud 35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7" name="Cloud 36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202965" y="5761409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39" name="Cloud 3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0" name="Cloud 3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540098" y="2555591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42" name="Cloud 4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3" name="Cloud 4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060393" y="2546187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45" name="Cloud 4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6" name="Cloud 4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7594584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nchronizing</a:t>
            </a:r>
            <a:r>
              <a:rPr lang="fr-FR" dirty="0" smtClean="0"/>
              <a:t> Repo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grpSp>
        <p:nvGrpSpPr>
          <p:cNvPr id="6" name="Group 5"/>
          <p:cNvGrpSpPr/>
          <p:nvPr/>
        </p:nvGrpSpPr>
        <p:grpSpPr>
          <a:xfrm>
            <a:off x="3281954" y="2116350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2" name="Cloud 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Cloud 1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802249" y="2116350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7" name="Cloud 16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267810" y="2116350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4" name="Cloud 23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Cloud 24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465793" y="5322168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27" name="Cloud 26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Cloud 27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986088" y="5322168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30" name="Cloud 29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Cloud 30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451649" y="5322168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33" name="Cloud 32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Cloud 33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682670" y="5770813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36" name="Cloud 35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7" name="Cloud 36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202965" y="5761409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39" name="Cloud 3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0" name="Cloud 3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540098" y="2555591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42" name="Cloud 4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3" name="Cloud 4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060393" y="2546187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45" name="Cloud 4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6" name="Cloud 4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8834" y="383700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399184">
            <a:off x="6890901" y="1922245"/>
            <a:ext cx="510638" cy="2268815"/>
          </a:xfrm>
          <a:prstGeom prst="rect">
            <a:avLst/>
          </a:prstGeom>
        </p:spPr>
      </p:pic>
      <p:grpSp>
        <p:nvGrpSpPr>
          <p:cNvPr id="49" name="Group 48"/>
          <p:cNvGrpSpPr/>
          <p:nvPr/>
        </p:nvGrpSpPr>
        <p:grpSpPr>
          <a:xfrm>
            <a:off x="8866324" y="3837009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50" name="Cloud 49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Cloud 50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9386619" y="3837009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53" name="Cloud 52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4" name="Cloud 53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9852180" y="3837009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56" name="Cloud 55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7" name="Cloud 56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9083201" y="4285654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59" name="Cloud 5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0" name="Cloud 5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9603496" y="4276250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62" name="Cloud 6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3" name="Cloud 6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8581521" y="4293416"/>
            <a:ext cx="414834" cy="365760"/>
            <a:chOff x="2220686" y="2142476"/>
            <a:chExt cx="1436914" cy="1266930"/>
          </a:xfrm>
          <a:solidFill>
            <a:srgbClr val="FFC000"/>
          </a:solidFill>
        </p:grpSpPr>
        <p:sp>
          <p:nvSpPr>
            <p:cNvPr id="65" name="Cloud 6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6" name="Cloud 6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018373" y="2568597"/>
            <a:ext cx="414834" cy="365760"/>
            <a:chOff x="2220686" y="2142476"/>
            <a:chExt cx="1436914" cy="1266930"/>
          </a:xfrm>
          <a:solidFill>
            <a:srgbClr val="FFC000"/>
          </a:solidFill>
        </p:grpSpPr>
        <p:sp>
          <p:nvSpPr>
            <p:cNvPr id="68" name="Cloud 67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9" name="Cloud 68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3171835" y="5759328"/>
            <a:ext cx="414834" cy="365760"/>
            <a:chOff x="2220686" y="2142476"/>
            <a:chExt cx="1436914" cy="1266930"/>
          </a:xfrm>
          <a:solidFill>
            <a:srgbClr val="FFC000"/>
          </a:solidFill>
        </p:grpSpPr>
        <p:sp>
          <p:nvSpPr>
            <p:cNvPr id="71" name="Cloud 70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2" name="Cloud 7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3120681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495F4B-BFDC-466D-9B0E-24D55C97E4DD}">
  <ds:schemaRefs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6e6f0a11-ea51-4914-9041-4a6fcd55b979"/>
    <ds:schemaRef ds:uri="http://purl.org/dc/elements/1.1/"/>
    <ds:schemaRef ds:uri="http://purl.org/dc/terms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1994</TotalTime>
  <Words>752</Words>
  <Application>Microsoft Office PowerPoint</Application>
  <PresentationFormat>Widescreen</PresentationFormat>
  <Paragraphs>238</Paragraphs>
  <Slides>37</Slides>
  <Notes>25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6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Distributed Version Control</vt:lpstr>
      <vt:lpstr>Git is…</vt:lpstr>
      <vt:lpstr>Multiple Repos</vt:lpstr>
      <vt:lpstr>Multiple Repos</vt:lpstr>
      <vt:lpstr>Remotes</vt:lpstr>
      <vt:lpstr>Like a local branch, a remote branch is just a reference to a commit.</vt:lpstr>
      <vt:lpstr>PowerPoint Presentation</vt:lpstr>
      <vt:lpstr>Synchronizing Repos</vt:lpstr>
      <vt:lpstr>Synchronizing Repos</vt:lpstr>
      <vt:lpstr>Synchronizing with a Remote</vt:lpstr>
      <vt:lpstr>Adding a Commit</vt:lpstr>
      <vt:lpstr>Git push</vt:lpstr>
      <vt:lpstr>Synchronizing with a Remote</vt:lpstr>
      <vt:lpstr>Conflict!</vt:lpstr>
      <vt:lpstr>Force push (-f)</vt:lpstr>
      <vt:lpstr>PowerPoint Presentation</vt:lpstr>
      <vt:lpstr>Git fetch</vt:lpstr>
      <vt:lpstr>Git push</vt:lpstr>
      <vt:lpstr>You “fetch” and “merge”, then you “push”.</vt:lpstr>
      <vt:lpstr>You “pull”, then you  “push”.</vt:lpstr>
      <vt:lpstr>PowerPoint Presentation</vt:lpstr>
      <vt:lpstr>Git rebase master</vt:lpstr>
      <vt:lpstr>Solving the conflict</vt:lpstr>
      <vt:lpstr>Another user</vt:lpstr>
      <vt:lpstr>Never rebase shared commits.</vt:lpstr>
      <vt:lpstr>GitHub / VSTS Features</vt:lpstr>
      <vt:lpstr>Fork</vt:lpstr>
      <vt:lpstr>Clone</vt:lpstr>
      <vt:lpstr>Push to origin</vt:lpstr>
      <vt:lpstr>Pull from upstream</vt:lpstr>
      <vt:lpstr>Pull Request</vt:lpstr>
      <vt:lpstr>Git is…</vt:lpstr>
      <vt:lpstr>Git is…</vt:lpstr>
      <vt:lpstr>Git is…</vt:lpstr>
      <vt:lpstr>Git is…</vt:lpstr>
      <vt:lpstr>PowerPoint Presentation</vt:lpstr>
      <vt:lpstr>Thanks!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123</cp:revision>
  <cp:lastPrinted>2014-10-09T09:53:38Z</cp:lastPrinted>
  <dcterms:created xsi:type="dcterms:W3CDTF">2017-12-19T13:40:50Z</dcterms:created>
  <dcterms:modified xsi:type="dcterms:W3CDTF">2017-12-26T12:5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